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9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EC8B7C-2370-8106-8485-2963097FB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ED0FDCA-DAD8-B2AE-BCA4-4D17812D93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D0FDCA-DAD8-B2AE-BCA4-4D17812D93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FDD971-1E30-2FBA-C4D1-986B9FB67B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77D480-471C-A9AD-413A-45FE2F2B9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D7D5AD7-6F71-EC9C-E0A0-9D84302C76F0}"/>
              </a:ext>
            </a:extLst>
          </p:cNvPr>
          <p:cNvSpPr/>
          <p:nvPr/>
        </p:nvSpPr>
        <p:spPr>
          <a:xfrm>
            <a:off x="419099" y="1309844"/>
            <a:ext cx="1496057" cy="145199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Heade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95E943-645F-4005-19E5-BF053D935946}"/>
              </a:ext>
            </a:extLst>
          </p:cNvPr>
          <p:cNvSpPr/>
          <p:nvPr/>
        </p:nvSpPr>
        <p:spPr>
          <a:xfrm>
            <a:off x="419099" y="3013133"/>
            <a:ext cx="1496057" cy="145199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Heade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94E08F-7C73-3F05-94EE-E957583F7DBB}"/>
              </a:ext>
            </a:extLst>
          </p:cNvPr>
          <p:cNvSpPr/>
          <p:nvPr/>
        </p:nvSpPr>
        <p:spPr>
          <a:xfrm>
            <a:off x="419099" y="4716422"/>
            <a:ext cx="1496057" cy="145199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Heade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pic>
        <p:nvPicPr>
          <p:cNvPr id="11" name="Picture 2" descr="Image result for mechanical engineering icon">
            <a:extLst>
              <a:ext uri="{FF2B5EF4-FFF2-40B4-BE49-F238E27FC236}">
                <a16:creationId xmlns:a16="http://schemas.microsoft.com/office/drawing/2014/main" id="{9D56D8D4-01CB-7866-F2A0-88C2C7ED9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044" y="2007705"/>
            <a:ext cx="630166" cy="630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>
            <a:extLst>
              <a:ext uri="{FF2B5EF4-FFF2-40B4-BE49-F238E27FC236}">
                <a16:creationId xmlns:a16="http://schemas.microsoft.com/office/drawing/2014/main" id="{6B065BF6-B09F-BB8F-1EBC-404CBEDC6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447" y="3756848"/>
            <a:ext cx="589360" cy="594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A3EF43B-8871-2622-BD83-CF5B922BD7DF}"/>
              </a:ext>
            </a:extLst>
          </p:cNvPr>
          <p:cNvGrpSpPr/>
          <p:nvPr/>
        </p:nvGrpSpPr>
        <p:grpSpPr>
          <a:xfrm>
            <a:off x="790889" y="5459222"/>
            <a:ext cx="752476" cy="398463"/>
            <a:chOff x="5087938" y="787401"/>
            <a:chExt cx="752476" cy="398463"/>
          </a:xfrm>
          <a:solidFill>
            <a:schemeClr val="bg1"/>
          </a:solidFill>
        </p:grpSpPr>
        <p:sp>
          <p:nvSpPr>
            <p:cNvPr id="14" name="Freeform 63">
              <a:extLst>
                <a:ext uri="{FF2B5EF4-FFF2-40B4-BE49-F238E27FC236}">
                  <a16:creationId xmlns:a16="http://schemas.microsoft.com/office/drawing/2014/main" id="{CAFFC851-6B4A-76F8-D909-5CA8860AD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7938" y="792163"/>
              <a:ext cx="357188" cy="193675"/>
            </a:xfrm>
            <a:custGeom>
              <a:avLst/>
              <a:gdLst>
                <a:gd name="T0" fmla="*/ 373 w 373"/>
                <a:gd name="T1" fmla="*/ 110 h 203"/>
                <a:gd name="T2" fmla="*/ 372 w 373"/>
                <a:gd name="T3" fmla="*/ 81 h 203"/>
                <a:gd name="T4" fmla="*/ 154 w 373"/>
                <a:gd name="T5" fmla="*/ 43 h 203"/>
                <a:gd name="T6" fmla="*/ 0 w 373"/>
                <a:gd name="T7" fmla="*/ 105 h 203"/>
                <a:gd name="T8" fmla="*/ 147 w 373"/>
                <a:gd name="T9" fmla="*/ 143 h 203"/>
                <a:gd name="T10" fmla="*/ 162 w 373"/>
                <a:gd name="T11" fmla="*/ 203 h 203"/>
                <a:gd name="T12" fmla="*/ 214 w 373"/>
                <a:gd name="T13" fmla="*/ 131 h 203"/>
                <a:gd name="T14" fmla="*/ 231 w 373"/>
                <a:gd name="T15" fmla="*/ 188 h 203"/>
                <a:gd name="T16" fmla="*/ 254 w 373"/>
                <a:gd name="T17" fmla="*/ 128 h 203"/>
                <a:gd name="T18" fmla="*/ 282 w 373"/>
                <a:gd name="T19" fmla="*/ 168 h 203"/>
                <a:gd name="T20" fmla="*/ 373 w 373"/>
                <a:gd name="T21" fmla="*/ 11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3" h="203">
                  <a:moveTo>
                    <a:pt x="373" y="110"/>
                  </a:moveTo>
                  <a:cubicBezTo>
                    <a:pt x="372" y="81"/>
                    <a:pt x="372" y="81"/>
                    <a:pt x="372" y="81"/>
                  </a:cubicBezTo>
                  <a:cubicBezTo>
                    <a:pt x="308" y="15"/>
                    <a:pt x="241" y="0"/>
                    <a:pt x="154" y="43"/>
                  </a:cubicBezTo>
                  <a:cubicBezTo>
                    <a:pt x="111" y="64"/>
                    <a:pt x="74" y="116"/>
                    <a:pt x="0" y="105"/>
                  </a:cubicBezTo>
                  <a:cubicBezTo>
                    <a:pt x="25" y="128"/>
                    <a:pt x="59" y="162"/>
                    <a:pt x="147" y="143"/>
                  </a:cubicBezTo>
                  <a:cubicBezTo>
                    <a:pt x="144" y="163"/>
                    <a:pt x="153" y="191"/>
                    <a:pt x="162" y="203"/>
                  </a:cubicBezTo>
                  <a:cubicBezTo>
                    <a:pt x="165" y="158"/>
                    <a:pt x="187" y="143"/>
                    <a:pt x="214" y="131"/>
                  </a:cubicBezTo>
                  <a:cubicBezTo>
                    <a:pt x="199" y="147"/>
                    <a:pt x="202" y="172"/>
                    <a:pt x="231" y="188"/>
                  </a:cubicBezTo>
                  <a:cubicBezTo>
                    <a:pt x="223" y="153"/>
                    <a:pt x="235" y="132"/>
                    <a:pt x="254" y="128"/>
                  </a:cubicBezTo>
                  <a:cubicBezTo>
                    <a:pt x="254" y="137"/>
                    <a:pt x="258" y="160"/>
                    <a:pt x="282" y="168"/>
                  </a:cubicBezTo>
                  <a:cubicBezTo>
                    <a:pt x="271" y="130"/>
                    <a:pt x="317" y="96"/>
                    <a:pt x="373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15" name="Freeform 64">
              <a:extLst>
                <a:ext uri="{FF2B5EF4-FFF2-40B4-BE49-F238E27FC236}">
                  <a16:creationId xmlns:a16="http://schemas.microsoft.com/office/drawing/2014/main" id="{D986FC60-BBD1-07AF-13EE-44971C4F6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3226" y="792163"/>
              <a:ext cx="357188" cy="193675"/>
            </a:xfrm>
            <a:custGeom>
              <a:avLst/>
              <a:gdLst>
                <a:gd name="T0" fmla="*/ 373 w 373"/>
                <a:gd name="T1" fmla="*/ 105 h 203"/>
                <a:gd name="T2" fmla="*/ 219 w 373"/>
                <a:gd name="T3" fmla="*/ 43 h 203"/>
                <a:gd name="T4" fmla="*/ 1 w 373"/>
                <a:gd name="T5" fmla="*/ 81 h 203"/>
                <a:gd name="T6" fmla="*/ 0 w 373"/>
                <a:gd name="T7" fmla="*/ 110 h 203"/>
                <a:gd name="T8" fmla="*/ 91 w 373"/>
                <a:gd name="T9" fmla="*/ 168 h 203"/>
                <a:gd name="T10" fmla="*/ 119 w 373"/>
                <a:gd name="T11" fmla="*/ 128 h 203"/>
                <a:gd name="T12" fmla="*/ 142 w 373"/>
                <a:gd name="T13" fmla="*/ 188 h 203"/>
                <a:gd name="T14" fmla="*/ 159 w 373"/>
                <a:gd name="T15" fmla="*/ 131 h 203"/>
                <a:gd name="T16" fmla="*/ 211 w 373"/>
                <a:gd name="T17" fmla="*/ 203 h 203"/>
                <a:gd name="T18" fmla="*/ 226 w 373"/>
                <a:gd name="T19" fmla="*/ 143 h 203"/>
                <a:gd name="T20" fmla="*/ 373 w 373"/>
                <a:gd name="T21" fmla="*/ 10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3" h="203">
                  <a:moveTo>
                    <a:pt x="373" y="105"/>
                  </a:moveTo>
                  <a:cubicBezTo>
                    <a:pt x="299" y="116"/>
                    <a:pt x="262" y="64"/>
                    <a:pt x="219" y="43"/>
                  </a:cubicBezTo>
                  <a:cubicBezTo>
                    <a:pt x="132" y="0"/>
                    <a:pt x="65" y="15"/>
                    <a:pt x="1" y="81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6" y="96"/>
                    <a:pt x="102" y="130"/>
                    <a:pt x="91" y="168"/>
                  </a:cubicBezTo>
                  <a:cubicBezTo>
                    <a:pt x="114" y="160"/>
                    <a:pt x="119" y="137"/>
                    <a:pt x="119" y="128"/>
                  </a:cubicBezTo>
                  <a:cubicBezTo>
                    <a:pt x="138" y="132"/>
                    <a:pt x="150" y="153"/>
                    <a:pt x="142" y="188"/>
                  </a:cubicBezTo>
                  <a:cubicBezTo>
                    <a:pt x="171" y="172"/>
                    <a:pt x="174" y="147"/>
                    <a:pt x="159" y="131"/>
                  </a:cubicBezTo>
                  <a:cubicBezTo>
                    <a:pt x="186" y="143"/>
                    <a:pt x="208" y="158"/>
                    <a:pt x="211" y="203"/>
                  </a:cubicBezTo>
                  <a:cubicBezTo>
                    <a:pt x="220" y="191"/>
                    <a:pt x="229" y="163"/>
                    <a:pt x="226" y="143"/>
                  </a:cubicBezTo>
                  <a:cubicBezTo>
                    <a:pt x="314" y="162"/>
                    <a:pt x="348" y="128"/>
                    <a:pt x="373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16" name="Freeform 65">
              <a:extLst>
                <a:ext uri="{FF2B5EF4-FFF2-40B4-BE49-F238E27FC236}">
                  <a16:creationId xmlns:a16="http://schemas.microsoft.com/office/drawing/2014/main" id="{B02905D4-DAA9-1B93-358A-D0D402EA2B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5276" y="787401"/>
              <a:ext cx="176213" cy="398463"/>
            </a:xfrm>
            <a:custGeom>
              <a:avLst/>
              <a:gdLst>
                <a:gd name="T0" fmla="*/ 117 w 184"/>
                <a:gd name="T1" fmla="*/ 123 h 417"/>
                <a:gd name="T2" fmla="*/ 136 w 184"/>
                <a:gd name="T3" fmla="*/ 143 h 417"/>
                <a:gd name="T4" fmla="*/ 110 w 184"/>
                <a:gd name="T5" fmla="*/ 133 h 417"/>
                <a:gd name="T6" fmla="*/ 112 w 184"/>
                <a:gd name="T7" fmla="*/ 143 h 417"/>
                <a:gd name="T8" fmla="*/ 147 w 184"/>
                <a:gd name="T9" fmla="*/ 157 h 417"/>
                <a:gd name="T10" fmla="*/ 160 w 184"/>
                <a:gd name="T11" fmla="*/ 172 h 417"/>
                <a:gd name="T12" fmla="*/ 102 w 184"/>
                <a:gd name="T13" fmla="*/ 53 h 417"/>
                <a:gd name="T14" fmla="*/ 92 w 184"/>
                <a:gd name="T15" fmla="*/ 0 h 417"/>
                <a:gd name="T16" fmla="*/ 82 w 184"/>
                <a:gd name="T17" fmla="*/ 53 h 417"/>
                <a:gd name="T18" fmla="*/ 24 w 184"/>
                <a:gd name="T19" fmla="*/ 172 h 417"/>
                <a:gd name="T20" fmla="*/ 37 w 184"/>
                <a:gd name="T21" fmla="*/ 157 h 417"/>
                <a:gd name="T22" fmla="*/ 72 w 184"/>
                <a:gd name="T23" fmla="*/ 143 h 417"/>
                <a:gd name="T24" fmla="*/ 74 w 184"/>
                <a:gd name="T25" fmla="*/ 133 h 417"/>
                <a:gd name="T26" fmla="*/ 48 w 184"/>
                <a:gd name="T27" fmla="*/ 143 h 417"/>
                <a:gd name="T28" fmla="*/ 67 w 184"/>
                <a:gd name="T29" fmla="*/ 123 h 417"/>
                <a:gd name="T30" fmla="*/ 2 w 184"/>
                <a:gd name="T31" fmla="*/ 177 h 417"/>
                <a:gd name="T32" fmla="*/ 23 w 184"/>
                <a:gd name="T33" fmla="*/ 253 h 417"/>
                <a:gd name="T34" fmla="*/ 38 w 184"/>
                <a:gd name="T35" fmla="*/ 313 h 417"/>
                <a:gd name="T36" fmla="*/ 57 w 184"/>
                <a:gd name="T37" fmla="*/ 375 h 417"/>
                <a:gd name="T38" fmla="*/ 86 w 184"/>
                <a:gd name="T39" fmla="*/ 407 h 417"/>
                <a:gd name="T40" fmla="*/ 70 w 184"/>
                <a:gd name="T41" fmla="*/ 376 h 417"/>
                <a:gd name="T42" fmla="*/ 89 w 184"/>
                <a:gd name="T43" fmla="*/ 411 h 417"/>
                <a:gd name="T44" fmla="*/ 96 w 184"/>
                <a:gd name="T45" fmla="*/ 360 h 417"/>
                <a:gd name="T46" fmla="*/ 101 w 184"/>
                <a:gd name="T47" fmla="*/ 405 h 417"/>
                <a:gd name="T48" fmla="*/ 101 w 184"/>
                <a:gd name="T49" fmla="*/ 406 h 417"/>
                <a:gd name="T50" fmla="*/ 112 w 184"/>
                <a:gd name="T51" fmla="*/ 350 h 417"/>
                <a:gd name="T52" fmla="*/ 126 w 184"/>
                <a:gd name="T53" fmla="*/ 288 h 417"/>
                <a:gd name="T54" fmla="*/ 126 w 184"/>
                <a:gd name="T55" fmla="*/ 211 h 417"/>
                <a:gd name="T56" fmla="*/ 163 w 184"/>
                <a:gd name="T57" fmla="*/ 145 h 417"/>
                <a:gd name="T58" fmla="*/ 85 w 184"/>
                <a:gd name="T59" fmla="*/ 222 h 417"/>
                <a:gd name="T60" fmla="*/ 46 w 184"/>
                <a:gd name="T61" fmla="*/ 252 h 417"/>
                <a:gd name="T62" fmla="*/ 87 w 184"/>
                <a:gd name="T63" fmla="*/ 299 h 417"/>
                <a:gd name="T64" fmla="*/ 59 w 184"/>
                <a:gd name="T65" fmla="*/ 315 h 417"/>
                <a:gd name="T66" fmla="*/ 97 w 184"/>
                <a:gd name="T67" fmla="*/ 299 h 417"/>
                <a:gd name="T68" fmla="*/ 97 w 184"/>
                <a:gd name="T69" fmla="*/ 339 h 417"/>
                <a:gd name="T70" fmla="*/ 98 w 184"/>
                <a:gd name="T71" fmla="*/ 276 h 417"/>
                <a:gd name="T72" fmla="*/ 138 w 184"/>
                <a:gd name="T73" fmla="*/ 252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417">
                  <a:moveTo>
                    <a:pt x="163" y="145"/>
                  </a:moveTo>
                  <a:cubicBezTo>
                    <a:pt x="157" y="130"/>
                    <a:pt x="136" y="118"/>
                    <a:pt x="117" y="123"/>
                  </a:cubicBezTo>
                  <a:cubicBezTo>
                    <a:pt x="112" y="125"/>
                    <a:pt x="113" y="131"/>
                    <a:pt x="118" y="134"/>
                  </a:cubicBezTo>
                  <a:cubicBezTo>
                    <a:pt x="123" y="138"/>
                    <a:pt x="131" y="142"/>
                    <a:pt x="136" y="143"/>
                  </a:cubicBezTo>
                  <a:cubicBezTo>
                    <a:pt x="136" y="144"/>
                    <a:pt x="136" y="144"/>
                    <a:pt x="135" y="145"/>
                  </a:cubicBezTo>
                  <a:cubicBezTo>
                    <a:pt x="128" y="144"/>
                    <a:pt x="114" y="139"/>
                    <a:pt x="110" y="133"/>
                  </a:cubicBezTo>
                  <a:cubicBezTo>
                    <a:pt x="112" y="138"/>
                    <a:pt x="120" y="144"/>
                    <a:pt x="131" y="146"/>
                  </a:cubicBezTo>
                  <a:cubicBezTo>
                    <a:pt x="126" y="147"/>
                    <a:pt x="119" y="146"/>
                    <a:pt x="112" y="143"/>
                  </a:cubicBezTo>
                  <a:cubicBezTo>
                    <a:pt x="115" y="150"/>
                    <a:pt x="130" y="152"/>
                    <a:pt x="133" y="152"/>
                  </a:cubicBezTo>
                  <a:cubicBezTo>
                    <a:pt x="139" y="153"/>
                    <a:pt x="140" y="156"/>
                    <a:pt x="147" y="157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56" y="163"/>
                    <a:pt x="160" y="168"/>
                    <a:pt x="160" y="172"/>
                  </a:cubicBezTo>
                  <a:cubicBezTo>
                    <a:pt x="158" y="182"/>
                    <a:pt x="122" y="191"/>
                    <a:pt x="99" y="197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12" y="49"/>
                    <a:pt x="119" y="39"/>
                    <a:pt x="119" y="28"/>
                  </a:cubicBezTo>
                  <a:cubicBezTo>
                    <a:pt x="119" y="13"/>
                    <a:pt x="107" y="0"/>
                    <a:pt x="92" y="0"/>
                  </a:cubicBezTo>
                  <a:cubicBezTo>
                    <a:pt x="77" y="0"/>
                    <a:pt x="65" y="13"/>
                    <a:pt x="65" y="28"/>
                  </a:cubicBezTo>
                  <a:cubicBezTo>
                    <a:pt x="65" y="39"/>
                    <a:pt x="72" y="49"/>
                    <a:pt x="82" y="53"/>
                  </a:cubicBezTo>
                  <a:cubicBezTo>
                    <a:pt x="85" y="197"/>
                    <a:pt x="85" y="197"/>
                    <a:pt x="85" y="197"/>
                  </a:cubicBezTo>
                  <a:cubicBezTo>
                    <a:pt x="62" y="191"/>
                    <a:pt x="26" y="182"/>
                    <a:pt x="24" y="172"/>
                  </a:cubicBezTo>
                  <a:cubicBezTo>
                    <a:pt x="24" y="168"/>
                    <a:pt x="28" y="163"/>
                    <a:pt x="35" y="158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44" y="156"/>
                    <a:pt x="45" y="153"/>
                    <a:pt x="51" y="152"/>
                  </a:cubicBezTo>
                  <a:cubicBezTo>
                    <a:pt x="54" y="152"/>
                    <a:pt x="69" y="150"/>
                    <a:pt x="72" y="143"/>
                  </a:cubicBezTo>
                  <a:cubicBezTo>
                    <a:pt x="65" y="146"/>
                    <a:pt x="58" y="147"/>
                    <a:pt x="53" y="146"/>
                  </a:cubicBezTo>
                  <a:cubicBezTo>
                    <a:pt x="64" y="144"/>
                    <a:pt x="71" y="138"/>
                    <a:pt x="74" y="133"/>
                  </a:cubicBezTo>
                  <a:cubicBezTo>
                    <a:pt x="70" y="139"/>
                    <a:pt x="56" y="144"/>
                    <a:pt x="49" y="145"/>
                  </a:cubicBezTo>
                  <a:cubicBezTo>
                    <a:pt x="48" y="144"/>
                    <a:pt x="48" y="144"/>
                    <a:pt x="48" y="143"/>
                  </a:cubicBezTo>
                  <a:cubicBezTo>
                    <a:pt x="53" y="142"/>
                    <a:pt x="61" y="138"/>
                    <a:pt x="66" y="134"/>
                  </a:cubicBezTo>
                  <a:cubicBezTo>
                    <a:pt x="71" y="131"/>
                    <a:pt x="72" y="125"/>
                    <a:pt x="67" y="123"/>
                  </a:cubicBezTo>
                  <a:cubicBezTo>
                    <a:pt x="48" y="118"/>
                    <a:pt x="27" y="130"/>
                    <a:pt x="21" y="145"/>
                  </a:cubicBezTo>
                  <a:cubicBezTo>
                    <a:pt x="6" y="155"/>
                    <a:pt x="0" y="166"/>
                    <a:pt x="2" y="177"/>
                  </a:cubicBezTo>
                  <a:cubicBezTo>
                    <a:pt x="6" y="193"/>
                    <a:pt x="29" y="203"/>
                    <a:pt x="58" y="211"/>
                  </a:cubicBezTo>
                  <a:cubicBezTo>
                    <a:pt x="36" y="222"/>
                    <a:pt x="23" y="237"/>
                    <a:pt x="23" y="253"/>
                  </a:cubicBezTo>
                  <a:cubicBezTo>
                    <a:pt x="24" y="267"/>
                    <a:pt x="36" y="280"/>
                    <a:pt x="58" y="288"/>
                  </a:cubicBezTo>
                  <a:cubicBezTo>
                    <a:pt x="45" y="295"/>
                    <a:pt x="38" y="303"/>
                    <a:pt x="38" y="313"/>
                  </a:cubicBezTo>
                  <a:cubicBezTo>
                    <a:pt x="37" y="329"/>
                    <a:pt x="54" y="342"/>
                    <a:pt x="72" y="350"/>
                  </a:cubicBezTo>
                  <a:cubicBezTo>
                    <a:pt x="62" y="358"/>
                    <a:pt x="57" y="368"/>
                    <a:pt x="57" y="375"/>
                  </a:cubicBezTo>
                  <a:cubicBezTo>
                    <a:pt x="57" y="388"/>
                    <a:pt x="71" y="402"/>
                    <a:pt x="83" y="406"/>
                  </a:cubicBezTo>
                  <a:cubicBezTo>
                    <a:pt x="86" y="407"/>
                    <a:pt x="86" y="407"/>
                    <a:pt x="86" y="407"/>
                  </a:cubicBezTo>
                  <a:cubicBezTo>
                    <a:pt x="83" y="405"/>
                    <a:pt x="83" y="405"/>
                    <a:pt x="83" y="405"/>
                  </a:cubicBezTo>
                  <a:cubicBezTo>
                    <a:pt x="73" y="394"/>
                    <a:pt x="68" y="384"/>
                    <a:pt x="70" y="376"/>
                  </a:cubicBezTo>
                  <a:cubicBezTo>
                    <a:pt x="72" y="367"/>
                    <a:pt x="81" y="362"/>
                    <a:pt x="88" y="360"/>
                  </a:cubicBezTo>
                  <a:cubicBezTo>
                    <a:pt x="89" y="411"/>
                    <a:pt x="89" y="411"/>
                    <a:pt x="89" y="411"/>
                  </a:cubicBezTo>
                  <a:cubicBezTo>
                    <a:pt x="89" y="416"/>
                    <a:pt x="95" y="417"/>
                    <a:pt x="95" y="411"/>
                  </a:cubicBezTo>
                  <a:cubicBezTo>
                    <a:pt x="96" y="360"/>
                    <a:pt x="96" y="360"/>
                    <a:pt x="96" y="360"/>
                  </a:cubicBezTo>
                  <a:cubicBezTo>
                    <a:pt x="102" y="362"/>
                    <a:pt x="112" y="367"/>
                    <a:pt x="114" y="376"/>
                  </a:cubicBezTo>
                  <a:cubicBezTo>
                    <a:pt x="116" y="384"/>
                    <a:pt x="111" y="394"/>
                    <a:pt x="101" y="405"/>
                  </a:cubicBezTo>
                  <a:cubicBezTo>
                    <a:pt x="98" y="407"/>
                    <a:pt x="98" y="407"/>
                    <a:pt x="98" y="407"/>
                  </a:cubicBezTo>
                  <a:cubicBezTo>
                    <a:pt x="101" y="406"/>
                    <a:pt x="101" y="406"/>
                    <a:pt x="101" y="406"/>
                  </a:cubicBezTo>
                  <a:cubicBezTo>
                    <a:pt x="113" y="402"/>
                    <a:pt x="127" y="388"/>
                    <a:pt x="127" y="375"/>
                  </a:cubicBezTo>
                  <a:cubicBezTo>
                    <a:pt x="127" y="368"/>
                    <a:pt x="122" y="358"/>
                    <a:pt x="112" y="350"/>
                  </a:cubicBezTo>
                  <a:cubicBezTo>
                    <a:pt x="130" y="342"/>
                    <a:pt x="147" y="329"/>
                    <a:pt x="146" y="313"/>
                  </a:cubicBezTo>
                  <a:cubicBezTo>
                    <a:pt x="146" y="303"/>
                    <a:pt x="139" y="295"/>
                    <a:pt x="126" y="288"/>
                  </a:cubicBezTo>
                  <a:cubicBezTo>
                    <a:pt x="148" y="280"/>
                    <a:pt x="160" y="267"/>
                    <a:pt x="161" y="253"/>
                  </a:cubicBezTo>
                  <a:cubicBezTo>
                    <a:pt x="161" y="237"/>
                    <a:pt x="148" y="222"/>
                    <a:pt x="126" y="211"/>
                  </a:cubicBezTo>
                  <a:cubicBezTo>
                    <a:pt x="155" y="203"/>
                    <a:pt x="178" y="193"/>
                    <a:pt x="182" y="177"/>
                  </a:cubicBezTo>
                  <a:cubicBezTo>
                    <a:pt x="184" y="166"/>
                    <a:pt x="178" y="155"/>
                    <a:pt x="163" y="145"/>
                  </a:cubicBezTo>
                  <a:close/>
                  <a:moveTo>
                    <a:pt x="46" y="252"/>
                  </a:moveTo>
                  <a:cubicBezTo>
                    <a:pt x="45" y="241"/>
                    <a:pt x="61" y="229"/>
                    <a:pt x="85" y="222"/>
                  </a:cubicBezTo>
                  <a:cubicBezTo>
                    <a:pt x="86" y="276"/>
                    <a:pt x="86" y="276"/>
                    <a:pt x="86" y="276"/>
                  </a:cubicBezTo>
                  <a:cubicBezTo>
                    <a:pt x="60" y="270"/>
                    <a:pt x="46" y="262"/>
                    <a:pt x="46" y="252"/>
                  </a:cubicBezTo>
                  <a:close/>
                  <a:moveTo>
                    <a:pt x="59" y="315"/>
                  </a:moveTo>
                  <a:cubicBezTo>
                    <a:pt x="60" y="310"/>
                    <a:pt x="67" y="304"/>
                    <a:pt x="87" y="299"/>
                  </a:cubicBezTo>
                  <a:cubicBezTo>
                    <a:pt x="87" y="339"/>
                    <a:pt x="87" y="339"/>
                    <a:pt x="87" y="339"/>
                  </a:cubicBezTo>
                  <a:cubicBezTo>
                    <a:pt x="69" y="330"/>
                    <a:pt x="59" y="320"/>
                    <a:pt x="59" y="315"/>
                  </a:cubicBezTo>
                  <a:close/>
                  <a:moveTo>
                    <a:pt x="97" y="339"/>
                  </a:moveTo>
                  <a:cubicBezTo>
                    <a:pt x="97" y="299"/>
                    <a:pt x="97" y="299"/>
                    <a:pt x="97" y="299"/>
                  </a:cubicBezTo>
                  <a:cubicBezTo>
                    <a:pt x="117" y="304"/>
                    <a:pt x="124" y="310"/>
                    <a:pt x="125" y="315"/>
                  </a:cubicBezTo>
                  <a:cubicBezTo>
                    <a:pt x="125" y="320"/>
                    <a:pt x="115" y="330"/>
                    <a:pt x="97" y="339"/>
                  </a:cubicBezTo>
                  <a:close/>
                  <a:moveTo>
                    <a:pt x="138" y="252"/>
                  </a:moveTo>
                  <a:cubicBezTo>
                    <a:pt x="138" y="262"/>
                    <a:pt x="124" y="270"/>
                    <a:pt x="98" y="276"/>
                  </a:cubicBezTo>
                  <a:cubicBezTo>
                    <a:pt x="99" y="222"/>
                    <a:pt x="99" y="222"/>
                    <a:pt x="99" y="222"/>
                  </a:cubicBezTo>
                  <a:cubicBezTo>
                    <a:pt x="123" y="229"/>
                    <a:pt x="139" y="241"/>
                    <a:pt x="138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C81F6EC8-A7E3-7230-A0E6-2CB615C4A214}"/>
              </a:ext>
            </a:extLst>
          </p:cNvPr>
          <p:cNvSpPr/>
          <p:nvPr/>
        </p:nvSpPr>
        <p:spPr>
          <a:xfrm>
            <a:off x="2067556" y="1309845"/>
            <a:ext cx="4722856" cy="145199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…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CE7D23-A441-72E0-EC72-C040AAEC6E52}"/>
              </a:ext>
            </a:extLst>
          </p:cNvPr>
          <p:cNvSpPr/>
          <p:nvPr/>
        </p:nvSpPr>
        <p:spPr>
          <a:xfrm>
            <a:off x="2067556" y="3013133"/>
            <a:ext cx="4722856" cy="145199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…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50EE9A-8348-9E7D-5CAE-D110C99FC1A1}"/>
              </a:ext>
            </a:extLst>
          </p:cNvPr>
          <p:cNvSpPr/>
          <p:nvPr/>
        </p:nvSpPr>
        <p:spPr>
          <a:xfrm>
            <a:off x="2067556" y="4716422"/>
            <a:ext cx="4722856" cy="145199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…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AC43E9-6124-7E68-E9E2-A706406CCB66}"/>
              </a:ext>
            </a:extLst>
          </p:cNvPr>
          <p:cNvSpPr/>
          <p:nvPr/>
        </p:nvSpPr>
        <p:spPr>
          <a:xfrm>
            <a:off x="7050045" y="1309845"/>
            <a:ext cx="4722856" cy="145199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…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01CFA1-829B-A899-1929-016760BD09EA}"/>
              </a:ext>
            </a:extLst>
          </p:cNvPr>
          <p:cNvSpPr/>
          <p:nvPr/>
        </p:nvSpPr>
        <p:spPr>
          <a:xfrm>
            <a:off x="7050045" y="3013133"/>
            <a:ext cx="4722856" cy="145199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…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2D5452-43D4-8732-29E5-D28E8B845147}"/>
              </a:ext>
            </a:extLst>
          </p:cNvPr>
          <p:cNvSpPr/>
          <p:nvPr/>
        </p:nvSpPr>
        <p:spPr>
          <a:xfrm>
            <a:off x="7050045" y="4716422"/>
            <a:ext cx="4722856" cy="145199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…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CBB06CB-AEB5-B972-64B1-C9ABFACD63C8}"/>
              </a:ext>
            </a:extLst>
          </p:cNvPr>
          <p:cNvSpPr txBox="1">
            <a:spLocks/>
          </p:cNvSpPr>
          <p:nvPr/>
        </p:nvSpPr>
        <p:spPr>
          <a:xfrm>
            <a:off x="7050045" y="1020543"/>
            <a:ext cx="367159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6857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214794"/>
                </a:solidFill>
                <a:latin typeface="Arial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Header</a:t>
            </a: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18387B-015D-8FD4-BE98-4DE1C074C571}"/>
              </a:ext>
            </a:extLst>
          </p:cNvPr>
          <p:cNvSpPr txBox="1">
            <a:spLocks/>
          </p:cNvSpPr>
          <p:nvPr/>
        </p:nvSpPr>
        <p:spPr>
          <a:xfrm>
            <a:off x="2067556" y="1020543"/>
            <a:ext cx="47228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Header</a:t>
            </a: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7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7</TotalTime>
  <Words>13</Words>
  <Application>Microsoft Office PowerPoint</Application>
  <PresentationFormat>Widescreen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ＭＳ Ｐゴシック</vt:lpstr>
      <vt:lpstr>Arial</vt:lpstr>
      <vt:lpstr>Calibri</vt:lpstr>
      <vt:lpstr>Courier New</vt:lpstr>
      <vt:lpstr>Crimson Pro</vt:lpstr>
      <vt:lpstr>Tahoma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40</cp:revision>
  <dcterms:created xsi:type="dcterms:W3CDTF">2021-03-31T02:49:57Z</dcterms:created>
  <dcterms:modified xsi:type="dcterms:W3CDTF">2025-10-15T08:41:23Z</dcterms:modified>
  <cp:category/>
</cp:coreProperties>
</file>